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70" d="100"/>
          <a:sy n="70" d="100"/>
        </p:scale>
        <p:origin x="78" y="630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18810615-CB09-4624-BB44-29963EF48C41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F9ABA048-420E-442E-AD02-583F115EB91D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s-ES" sz="1400" b="1" dirty="0">
                  <a:solidFill>
                    <a:srgbClr val="FFFFFF"/>
                  </a:solidFill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8B9EC654-D84D-4520-BD14-95292BA95FD6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8422D032-1389-4567-9C15-BD33DB6122C0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0E87FA1F-0B1F-4823-A6B3-56BC47247A0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 dirty="0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2" y="1479548"/>
            <a:ext cx="7997825" cy="307975"/>
          </a:xfrm>
        </p:spPr>
        <p:txBody>
          <a:bodyPr/>
          <a:lstStyle/>
          <a:p>
            <a:r>
              <a:rPr lang="es-ES" dirty="0"/>
              <a:t>Nuevo servo-inversor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8336216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encia, </a:t>
            </a:r>
            <a:r>
              <a:rPr lang="es-ES" sz="800" dirty="0">
                <a:solidFill>
                  <a:srgbClr val="000000"/>
                </a:solidFill>
              </a:rPr>
              <a:t>Mantenimiento, Optimización de costos 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</a:t>
            </a:r>
            <a:r>
              <a:rPr lang="en-GB" altLang="fr-FR" sz="800" dirty="0">
                <a:solidFill>
                  <a:srgbClr val="000000"/>
                </a:solidFill>
              </a:rPr>
              <a:t>All Packing type AN, ER 30, ER 60, SD before 2002, fitted with a numerical control Cyber or NUM 1040,  IRT 1335, 1510, 1518, SEW Serie A, and </a:t>
            </a:r>
            <a:r>
              <a:rPr lang="en-GB" altLang="fr-FR" sz="800" dirty="0" err="1">
                <a:solidFill>
                  <a:srgbClr val="000000"/>
                </a:solidFill>
              </a:rPr>
              <a:t>Parvex</a:t>
            </a:r>
            <a:r>
              <a:rPr lang="en-GB" altLang="fr-FR" sz="800" dirty="0">
                <a:solidFill>
                  <a:srgbClr val="000000"/>
                </a:solidFill>
              </a:rPr>
              <a:t> motors </a:t>
            </a:r>
          </a:p>
          <a:p>
            <a:pPr lvl="0"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CLC-01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5605" y="2196280"/>
            <a:ext cx="3866263" cy="2242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terial de última generación y repuestos disponibl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Optimización del rendimiento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Incremento de la viabilidad y productividad, evita largos tiempos de inactividad en caso de rotura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Autonomía del personal de mantenimiento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Mayor capacidad de memoria, lo que permite manejar tamaños adicional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as funciones adicionales disponibles como opción (ajuste fino)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Diagnóstico más sencillo para el mantenimiento</a:t>
            </a:r>
            <a:endParaRPr kumimoji="0" lang="es-E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6150" y="2197464"/>
            <a:ext cx="3910143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Suministro de nuevo servo-inversor con </a:t>
            </a:r>
            <a:r>
              <a:rPr lang="es-ES" sz="1100" dirty="0" err="1">
                <a:solidFill>
                  <a:srgbClr val="000000"/>
                </a:solidFill>
              </a:rPr>
              <a:t>Sew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100" dirty="0" err="1">
                <a:solidFill>
                  <a:srgbClr val="000000"/>
                </a:solidFill>
              </a:rPr>
              <a:t>Movidrive</a:t>
            </a:r>
            <a:r>
              <a:rPr lang="es-ES" sz="1100" dirty="0">
                <a:solidFill>
                  <a:srgbClr val="000000"/>
                </a:solidFill>
              </a:rPr>
              <a:t> Serie B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Reemplazo del sistema de motorización, ya no compatible, por el sistema </a:t>
            </a:r>
            <a:r>
              <a:rPr lang="es-ES" sz="1100" dirty="0" err="1">
                <a:solidFill>
                  <a:srgbClr val="000000"/>
                </a:solidFill>
              </a:rPr>
              <a:t>Sew</a:t>
            </a:r>
            <a:r>
              <a:rPr lang="es-ES" sz="11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2" name="Flèche droite 2">
            <a:extLst>
              <a:ext uri="{FF2B5EF4-FFF2-40B4-BE49-F238E27FC236}">
                <a16:creationId xmlns:a16="http://schemas.microsoft.com/office/drawing/2014/main" id="{1FAC4AC1-C17F-4621-9FA2-7683BF3BED70}"/>
              </a:ext>
            </a:extLst>
          </p:cNvPr>
          <p:cNvSpPr>
            <a:spLocks/>
          </p:cNvSpPr>
          <p:nvPr/>
        </p:nvSpPr>
        <p:spPr>
          <a:xfrm>
            <a:off x="6381174" y="3764847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23" name="Image 11">
            <a:extLst>
              <a:ext uri="{FF2B5EF4-FFF2-40B4-BE49-F238E27FC236}">
                <a16:creationId xmlns:a16="http://schemas.microsoft.com/office/drawing/2014/main" id="{667EBB54-0738-4F46-B745-A6130FF48F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80" y="3028164"/>
            <a:ext cx="1530224" cy="2735015"/>
          </a:xfrm>
          <a:prstGeom prst="rect">
            <a:avLst/>
          </a:prstGeom>
        </p:spPr>
      </p:pic>
      <p:pic>
        <p:nvPicPr>
          <p:cNvPr id="24" name="Image 12">
            <a:extLst>
              <a:ext uri="{FF2B5EF4-FFF2-40B4-BE49-F238E27FC236}">
                <a16:creationId xmlns:a16="http://schemas.microsoft.com/office/drawing/2014/main" id="{516D5BCF-5DF3-4E69-B373-8780509EE2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820" y="2978543"/>
            <a:ext cx="1286886" cy="2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59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802</TotalTime>
  <Words>150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0</cp:revision>
  <dcterms:created xsi:type="dcterms:W3CDTF">2019-02-20T10:39:16Z</dcterms:created>
  <dcterms:modified xsi:type="dcterms:W3CDTF">2021-03-26T15:1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5:14:43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